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1"/>
  </p:sldMasterIdLst>
  <p:notesMasterIdLst>
    <p:notesMasterId r:id="rId7"/>
  </p:notesMasterIdLst>
  <p:sldIdLst>
    <p:sldId id="2145707844" r:id="rId2"/>
    <p:sldId id="2145707841" r:id="rId3"/>
    <p:sldId id="2145707842" r:id="rId4"/>
    <p:sldId id="2145707843" r:id="rId5"/>
    <p:sldId id="2145707840" r:id="rId6"/>
  </p:sldIdLst>
  <p:sldSz cx="6858000" cy="9906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B6F5F9-5B3B-4E4D-A899-AB966508EEAF}" v="1" dt="2023-08-02T13:24:15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52" d="100"/>
          <a:sy n="52" d="100"/>
        </p:scale>
        <p:origin x="263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eki shuichi" userId="22ca00780100fab7" providerId="Windows Live" clId="Web-{D19CC781-75B9-4C18-ABE3-1B32D91DA901}"/>
    <pc:docChg chg="modSld">
      <pc:chgData name="iseki shuichi" userId="22ca00780100fab7" providerId="Windows Live" clId="Web-{D19CC781-75B9-4C18-ABE3-1B32D91DA901}" dt="2023-07-24T05:04:49.047" v="1"/>
      <pc:docMkLst>
        <pc:docMk/>
      </pc:docMkLst>
      <pc:sldChg chg="modSp">
        <pc:chgData name="iseki shuichi" userId="22ca00780100fab7" providerId="Windows Live" clId="Web-{D19CC781-75B9-4C18-ABE3-1B32D91DA901}" dt="2023-07-24T05:04:49.047" v="1"/>
        <pc:sldMkLst>
          <pc:docMk/>
          <pc:sldMk cId="2817180806" sldId="2145707839"/>
        </pc:sldMkLst>
        <pc:graphicFrameChg chg="modGraphic">
          <ac:chgData name="iseki shuichi" userId="22ca00780100fab7" providerId="Windows Live" clId="Web-{D19CC781-75B9-4C18-ABE3-1B32D91DA901}" dt="2023-07-24T05:04:49.047" v="1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</pc:docChg>
  </pc:docChgLst>
  <pc:docChgLst>
    <pc:chgData name="shuichi iseki" userId="22ca00780100fab7" providerId="LiveId" clId="{D3B6F5F9-5B3B-4E4D-A899-AB966508EEAF}"/>
    <pc:docChg chg="undo custSel modSld">
      <pc:chgData name="shuichi iseki" userId="22ca00780100fab7" providerId="LiveId" clId="{D3B6F5F9-5B3B-4E4D-A899-AB966508EEAF}" dt="2023-08-02T13:24:32.655" v="4" actId="14734"/>
      <pc:docMkLst>
        <pc:docMk/>
      </pc:docMkLst>
      <pc:sldChg chg="modSp mod">
        <pc:chgData name="shuichi iseki" userId="22ca00780100fab7" providerId="LiveId" clId="{D3B6F5F9-5B3B-4E4D-A899-AB966508EEAF}" dt="2023-08-02T13:24:32.655" v="4" actId="14734"/>
        <pc:sldMkLst>
          <pc:docMk/>
          <pc:sldMk cId="1842374520" sldId="2145707840"/>
        </pc:sldMkLst>
        <pc:graphicFrameChg chg="mod modGraphic">
          <ac:chgData name="shuichi iseki" userId="22ca00780100fab7" providerId="LiveId" clId="{D3B6F5F9-5B3B-4E4D-A899-AB966508EEAF}" dt="2023-08-02T13:24:32.655" v="4" actId="1473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shuichi iseki" userId="22ca00780100fab7" providerId="LiveId" clId="{0F366E6E-508D-8D40-B9A0-C490247102F5}"/>
    <pc:docChg chg="undo custSel modSld">
      <pc:chgData name="shuichi iseki" userId="22ca00780100fab7" providerId="LiveId" clId="{0F366E6E-508D-8D40-B9A0-C490247102F5}" dt="2023-08-01T06:16:42.031" v="95" actId="572"/>
      <pc:docMkLst>
        <pc:docMk/>
      </pc:docMkLst>
      <pc:sldChg chg="modSp mod">
        <pc:chgData name="shuichi iseki" userId="22ca00780100fab7" providerId="LiveId" clId="{0F366E6E-508D-8D40-B9A0-C490247102F5}" dt="2023-07-25T07:55:17.206" v="64" actId="2711"/>
        <pc:sldMkLst>
          <pc:docMk/>
          <pc:sldMk cId="2165989175" sldId="256"/>
        </pc:sldMkLst>
        <pc:spChg chg="mod">
          <ac:chgData name="shuichi iseki" userId="22ca00780100fab7" providerId="LiveId" clId="{0F366E6E-508D-8D40-B9A0-C490247102F5}" dt="2023-07-25T07:55:17.206" v="64" actId="2711"/>
          <ac:spMkLst>
            <pc:docMk/>
            <pc:sldMk cId="2165989175" sldId="256"/>
            <ac:spMk id="2" creationId="{D61225F5-1F09-1707-B1AD-268B44AE621F}"/>
          </ac:spMkLst>
        </pc:spChg>
        <pc:spChg chg="mod">
          <ac:chgData name="shuichi iseki" userId="22ca00780100fab7" providerId="LiveId" clId="{0F366E6E-508D-8D40-B9A0-C490247102F5}" dt="2023-07-25T07:55:17.206" v="64" actId="2711"/>
          <ac:spMkLst>
            <pc:docMk/>
            <pc:sldMk cId="2165989175" sldId="256"/>
            <ac:spMk id="3" creationId="{ADEB2D20-988A-C169-F96B-069DA56D4143}"/>
          </ac:spMkLst>
        </pc:spChg>
      </pc:sldChg>
      <pc:sldChg chg="modSp mod">
        <pc:chgData name="shuichi iseki" userId="22ca00780100fab7" providerId="LiveId" clId="{0F366E6E-508D-8D40-B9A0-C490247102F5}" dt="2023-08-01T06:16:42.031" v="95" actId="572"/>
        <pc:sldMkLst>
          <pc:docMk/>
          <pc:sldMk cId="1998691687" sldId="2145707837"/>
        </pc:sldMkLst>
        <pc:graphicFrameChg chg="mod modGraphic">
          <ac:chgData name="shuichi iseki" userId="22ca00780100fab7" providerId="LiveId" clId="{0F366E6E-508D-8D40-B9A0-C490247102F5}" dt="2023-08-01T06:16:42.031" v="95" actId="572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  <pc:graphicFrameChg chg="mod modGraphic">
          <ac:chgData name="shuichi iseki" userId="22ca00780100fab7" providerId="LiveId" clId="{0F366E6E-508D-8D40-B9A0-C490247102F5}" dt="2023-08-01T06:14:01.725" v="75" actId="1076"/>
          <ac:graphicFrameMkLst>
            <pc:docMk/>
            <pc:sldMk cId="1998691687" sldId="2145707837"/>
            <ac:graphicFrameMk id="20" creationId="{6ACFE5E2-8299-FCBC-9EE2-053ADD04E046}"/>
          </ac:graphicFrameMkLst>
        </pc:graphicFrameChg>
      </pc:sldChg>
      <pc:sldChg chg="modSp mod">
        <pc:chgData name="shuichi iseki" userId="22ca00780100fab7" providerId="LiveId" clId="{0F366E6E-508D-8D40-B9A0-C490247102F5}" dt="2023-08-01T06:15:11.646" v="85" actId="1035"/>
        <pc:sldMkLst>
          <pc:docMk/>
          <pc:sldMk cId="2817180806" sldId="2145707839"/>
        </pc:sldMkLst>
        <pc:graphicFrameChg chg="mod modGraphic">
          <ac:chgData name="shuichi iseki" userId="22ca00780100fab7" providerId="LiveId" clId="{0F366E6E-508D-8D40-B9A0-C490247102F5}" dt="2023-08-01T06:14:10.435" v="76" actId="1076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 modGraphic">
          <ac:chgData name="shuichi iseki" userId="22ca00780100fab7" providerId="LiveId" clId="{0F366E6E-508D-8D40-B9A0-C490247102F5}" dt="2023-08-01T06:15:11.646" v="85" actId="1035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  <pc:sldChg chg="delSp modSp mod">
        <pc:chgData name="shuichi iseki" userId="22ca00780100fab7" providerId="LiveId" clId="{0F366E6E-508D-8D40-B9A0-C490247102F5}" dt="2023-08-01T06:16:02.002" v="94" actId="1076"/>
        <pc:sldMkLst>
          <pc:docMk/>
          <pc:sldMk cId="1842374520" sldId="2145707840"/>
        </pc:sldMkLst>
        <pc:spChg chg="del">
          <ac:chgData name="shuichi iseki" userId="22ca00780100fab7" providerId="LiveId" clId="{0F366E6E-508D-8D40-B9A0-C490247102F5}" dt="2023-08-01T06:15:28.131" v="87" actId="478"/>
          <ac:spMkLst>
            <pc:docMk/>
            <pc:sldMk cId="1842374520" sldId="2145707840"/>
            <ac:spMk id="3" creationId="{FE2B90BD-63DC-ED1C-4245-7B367DEAE357}"/>
          </ac:spMkLst>
        </pc:spChg>
        <pc:spChg chg="mod">
          <ac:chgData name="shuichi iseki" userId="22ca00780100fab7" providerId="LiveId" clId="{0F366E6E-508D-8D40-B9A0-C490247102F5}" dt="2023-08-01T06:16:02.002" v="94" actId="1076"/>
          <ac:spMkLst>
            <pc:docMk/>
            <pc:sldMk cId="1842374520" sldId="2145707840"/>
            <ac:spMk id="5" creationId="{EF20157F-5768-362B-F34C-4B60575B0904}"/>
          </ac:spMkLst>
        </pc:spChg>
        <pc:graphicFrameChg chg="mod modGraphic">
          <ac:chgData name="shuichi iseki" userId="22ca00780100fab7" providerId="LiveId" clId="{0F366E6E-508D-8D40-B9A0-C490247102F5}" dt="2023-08-01T06:15:33.654" v="88" actId="14734"/>
          <ac:graphicFrameMkLst>
            <pc:docMk/>
            <pc:sldMk cId="1842374520" sldId="2145707840"/>
            <ac:graphicFrameMk id="2" creationId="{EF61C181-4A8A-9111-99CB-B8EC3E5C238C}"/>
          </ac:graphicFrameMkLst>
        </pc:graphicFrameChg>
        <pc:graphicFrameChg chg="mod modGraphic">
          <ac:chgData name="shuichi iseki" userId="22ca00780100fab7" providerId="LiveId" clId="{0F366E6E-508D-8D40-B9A0-C490247102F5}" dt="2023-08-01T06:15:54.983" v="93" actId="1473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Matsuki Ko" userId="acecf8faf8d1f709" providerId="LiveId" clId="{F6FA6C4C-41B3-44C5-978E-FA3B87AEFA8B}"/>
    <pc:docChg chg="undo custSel addSld delSld modSld">
      <pc:chgData name="Matsuki Ko" userId="acecf8faf8d1f709" providerId="LiveId" clId="{F6FA6C4C-41B3-44C5-978E-FA3B87AEFA8B}" dt="2023-08-01T01:07:50.010" v="263" actId="20577"/>
      <pc:docMkLst>
        <pc:docMk/>
      </pc:docMkLst>
      <pc:sldChg chg="delSp modSp mod">
        <pc:chgData name="Matsuki Ko" userId="acecf8faf8d1f709" providerId="LiveId" clId="{F6FA6C4C-41B3-44C5-978E-FA3B87AEFA8B}" dt="2023-07-24T06:44:11.618" v="180" actId="478"/>
        <pc:sldMkLst>
          <pc:docMk/>
          <pc:sldMk cId="1998691687" sldId="2145707837"/>
        </pc:sldMkLst>
        <pc:spChg chg="del">
          <ac:chgData name="Matsuki Ko" userId="acecf8faf8d1f709" providerId="LiveId" clId="{F6FA6C4C-41B3-44C5-978E-FA3B87AEFA8B}" dt="2023-07-24T06:44:11.618" v="180" actId="478"/>
          <ac:spMkLst>
            <pc:docMk/>
            <pc:sldMk cId="1998691687" sldId="2145707837"/>
            <ac:spMk id="9" creationId="{FEDA0F1D-115A-33E3-7125-EA710E16C2E6}"/>
          </ac:spMkLst>
        </pc:spChg>
        <pc:graphicFrameChg chg="modGraphic">
          <ac:chgData name="Matsuki Ko" userId="acecf8faf8d1f709" providerId="LiveId" clId="{F6FA6C4C-41B3-44C5-978E-FA3B87AEFA8B}" dt="2023-07-24T02:42:49.947" v="1" actId="242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</pc:sldChg>
      <pc:sldChg chg="modSp mod">
        <pc:chgData name="Matsuki Ko" userId="acecf8faf8d1f709" providerId="LiveId" clId="{F6FA6C4C-41B3-44C5-978E-FA3B87AEFA8B}" dt="2023-07-24T06:36:11.956" v="23" actId="20577"/>
        <pc:sldMkLst>
          <pc:docMk/>
          <pc:sldMk cId="2817180806" sldId="2145707839"/>
        </pc:sldMkLst>
        <pc:graphicFrameChg chg="modGraphic">
          <ac:chgData name="Matsuki Ko" userId="acecf8faf8d1f709" providerId="LiveId" clId="{F6FA6C4C-41B3-44C5-978E-FA3B87AEFA8B}" dt="2023-07-24T06:36:11.956" v="23" actId="20577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Graphic">
          <ac:chgData name="Matsuki Ko" userId="acecf8faf8d1f709" providerId="LiveId" clId="{F6FA6C4C-41B3-44C5-978E-FA3B87AEFA8B}" dt="2023-07-24T06:33:03.562" v="3" actId="207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  <pc:sldChg chg="addSp modSp mod">
        <pc:chgData name="Matsuki Ko" userId="acecf8faf8d1f709" providerId="LiveId" clId="{F6FA6C4C-41B3-44C5-978E-FA3B87AEFA8B}" dt="2023-08-01T01:07:50.010" v="263" actId="20577"/>
        <pc:sldMkLst>
          <pc:docMk/>
          <pc:sldMk cId="1842374520" sldId="2145707840"/>
        </pc:sldMkLst>
        <pc:spChg chg="add mod">
          <ac:chgData name="Matsuki Ko" userId="acecf8faf8d1f709" providerId="LiveId" clId="{F6FA6C4C-41B3-44C5-978E-FA3B87AEFA8B}" dt="2023-08-01T01:07:50.010" v="263" actId="20577"/>
          <ac:spMkLst>
            <pc:docMk/>
            <pc:sldMk cId="1842374520" sldId="2145707840"/>
            <ac:spMk id="3" creationId="{FE2B90BD-63DC-ED1C-4245-7B367DEAE357}"/>
          </ac:spMkLst>
        </pc:spChg>
        <pc:spChg chg="mod">
          <ac:chgData name="Matsuki Ko" userId="acecf8faf8d1f709" providerId="LiveId" clId="{F6FA6C4C-41B3-44C5-978E-FA3B87AEFA8B}" dt="2023-07-24T06:43:46.492" v="178" actId="1076"/>
          <ac:spMkLst>
            <pc:docMk/>
            <pc:sldMk cId="1842374520" sldId="2145707840"/>
            <ac:spMk id="5" creationId="{EF20157F-5768-362B-F34C-4B60575B0904}"/>
          </ac:spMkLst>
        </pc:spChg>
        <pc:graphicFrameChg chg="mod modGraphic">
          <ac:chgData name="Matsuki Ko" userId="acecf8faf8d1f709" providerId="LiveId" clId="{F6FA6C4C-41B3-44C5-978E-FA3B87AEFA8B}" dt="2023-07-24T06:43:14.280" v="177" actId="20577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  <pc:sldChg chg="addSp delSp modSp new del mod">
        <pc:chgData name="Matsuki Ko" userId="acecf8faf8d1f709" providerId="LiveId" clId="{F6FA6C4C-41B3-44C5-978E-FA3B87AEFA8B}" dt="2023-07-24T06:43:55.235" v="179" actId="47"/>
        <pc:sldMkLst>
          <pc:docMk/>
          <pc:sldMk cId="2214278982" sldId="2145707841"/>
        </pc:sldMkLst>
        <pc:spChg chg="del">
          <ac:chgData name="Matsuki Ko" userId="acecf8faf8d1f709" providerId="LiveId" clId="{F6FA6C4C-41B3-44C5-978E-FA3B87AEFA8B}" dt="2023-07-24T06:38:25.878" v="26" actId="478"/>
          <ac:spMkLst>
            <pc:docMk/>
            <pc:sldMk cId="2214278982" sldId="2145707841"/>
            <ac:spMk id="2" creationId="{D8AD4A9B-3A52-3E47-A8F3-906BF2507C60}"/>
          </ac:spMkLst>
        </pc:spChg>
        <pc:spChg chg="del">
          <ac:chgData name="Matsuki Ko" userId="acecf8faf8d1f709" providerId="LiveId" clId="{F6FA6C4C-41B3-44C5-978E-FA3B87AEFA8B}" dt="2023-07-24T06:38:24.950" v="25" actId="478"/>
          <ac:spMkLst>
            <pc:docMk/>
            <pc:sldMk cId="2214278982" sldId="2145707841"/>
            <ac:spMk id="3" creationId="{F2E022CE-6256-6D6C-24DE-7AA5445B1A5D}"/>
          </ac:spMkLst>
        </pc:spChg>
        <pc:graphicFrameChg chg="add mod modGraphic">
          <ac:chgData name="Matsuki Ko" userId="acecf8faf8d1f709" providerId="LiveId" clId="{F6FA6C4C-41B3-44C5-978E-FA3B87AEFA8B}" dt="2023-07-24T06:41:34.639" v="40" actId="20577"/>
          <ac:graphicFrameMkLst>
            <pc:docMk/>
            <pc:sldMk cId="2214278982" sldId="2145707841"/>
            <ac:graphicFrameMk id="4" creationId="{07626188-D2C5-F3B7-1CCC-A12864E7F032}"/>
          </ac:graphicFrameMkLst>
        </pc:graphicFrameChg>
      </pc:sldChg>
    </pc:docChg>
  </pc:docChgLst>
  <pc:docChgLst>
    <pc:chgData name="iseki shuichi" userId="22ca00780100fab7" providerId="Windows Live" clId="Web-{D1B25751-E985-441A-9B24-80936B5406B1}"/>
    <pc:docChg chg="modSld">
      <pc:chgData name="iseki shuichi" userId="22ca00780100fab7" providerId="Windows Live" clId="Web-{D1B25751-E985-441A-9B24-80936B5406B1}" dt="2023-07-24T03:10:28.489" v="210"/>
      <pc:docMkLst>
        <pc:docMk/>
      </pc:docMkLst>
      <pc:sldChg chg="modSp">
        <pc:chgData name="iseki shuichi" userId="22ca00780100fab7" providerId="Windows Live" clId="Web-{D1B25751-E985-441A-9B24-80936B5406B1}" dt="2023-07-24T02:48:18.648" v="64"/>
        <pc:sldMkLst>
          <pc:docMk/>
          <pc:sldMk cId="1998691687" sldId="2145707837"/>
        </pc:sldMkLst>
        <pc:spChg chg="mod">
          <ac:chgData name="iseki shuichi" userId="22ca00780100fab7" providerId="Windows Live" clId="Web-{D1B25751-E985-441A-9B24-80936B5406B1}" dt="2023-07-24T02:43:32.516" v="4" actId="14100"/>
          <ac:spMkLst>
            <pc:docMk/>
            <pc:sldMk cId="1998691687" sldId="2145707837"/>
            <ac:spMk id="9" creationId="{FEDA0F1D-115A-33E3-7125-EA710E16C2E6}"/>
          </ac:spMkLst>
        </pc:spChg>
        <pc:graphicFrameChg chg="mod modGraphic">
          <ac:chgData name="iseki shuichi" userId="22ca00780100fab7" providerId="Windows Live" clId="Web-{D1B25751-E985-441A-9B24-80936B5406B1}" dt="2023-07-24T02:48:18.648" v="64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</pc:sldChg>
      <pc:sldChg chg="modSp">
        <pc:chgData name="iseki shuichi" userId="22ca00780100fab7" providerId="Windows Live" clId="Web-{D1B25751-E985-441A-9B24-80936B5406B1}" dt="2023-07-24T03:10:28.489" v="210"/>
        <pc:sldMkLst>
          <pc:docMk/>
          <pc:sldMk cId="2817180806" sldId="2145707839"/>
        </pc:sldMkLst>
        <pc:graphicFrameChg chg="mod modGraphic">
          <ac:chgData name="iseki shuichi" userId="22ca00780100fab7" providerId="Windows Live" clId="Web-{D1B25751-E985-441A-9B24-80936B5406B1}" dt="2023-07-24T02:58:16.770" v="148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 modGraphic">
          <ac:chgData name="iseki shuichi" userId="22ca00780100fab7" providerId="Windows Live" clId="Web-{D1B25751-E985-441A-9B24-80936B5406B1}" dt="2023-07-24T03:10:28.489" v="210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</pc:docChg>
  </pc:docChgLst>
  <pc:docChgLst>
    <pc:chgData name="iseki shuichi" userId="22ca00780100fab7" providerId="Windows Live" clId="Web-{F4534FA9-F034-4F8F-BCC7-DE2B6731C26C}"/>
    <pc:docChg chg="modSld">
      <pc:chgData name="iseki shuichi" userId="22ca00780100fab7" providerId="Windows Live" clId="Web-{F4534FA9-F034-4F8F-BCC7-DE2B6731C26C}" dt="2023-07-25T07:37:21.276" v="10"/>
      <pc:docMkLst>
        <pc:docMk/>
      </pc:docMkLst>
      <pc:sldChg chg="modSp">
        <pc:chgData name="iseki shuichi" userId="22ca00780100fab7" providerId="Windows Live" clId="Web-{F4534FA9-F034-4F8F-BCC7-DE2B6731C26C}" dt="2023-07-25T07:37:21.276" v="10"/>
        <pc:sldMkLst>
          <pc:docMk/>
          <pc:sldMk cId="1842374520" sldId="2145707840"/>
        </pc:sldMkLst>
        <pc:graphicFrameChg chg="mod modGraphic">
          <ac:chgData name="iseki shuichi" userId="22ca00780100fab7" providerId="Windows Live" clId="Web-{F4534FA9-F034-4F8F-BCC7-DE2B6731C26C}" dt="2023-07-25T07:36:43.118" v="2"/>
          <ac:graphicFrameMkLst>
            <pc:docMk/>
            <pc:sldMk cId="1842374520" sldId="2145707840"/>
            <ac:graphicFrameMk id="2" creationId="{EF61C181-4A8A-9111-99CB-B8EC3E5C238C}"/>
          </ac:graphicFrameMkLst>
        </pc:graphicFrameChg>
        <pc:graphicFrameChg chg="mod modGraphic">
          <ac:chgData name="iseki shuichi" userId="22ca00780100fab7" providerId="Windows Live" clId="Web-{F4534FA9-F034-4F8F-BCC7-DE2B6731C26C}" dt="2023-07-25T07:37:21.276" v="10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2D224D46-2A45-4D0B-8015-32FB64D2A6C4}"/>
    <pc:docChg chg="modSld">
      <pc:chgData name="iseki shuichi" userId="22ca00780100fab7" providerId="Windows Live" clId="Web-{2D224D46-2A45-4D0B-8015-32FB64D2A6C4}" dt="2023-07-24T07:02:18.104" v="132" actId="20577"/>
      <pc:docMkLst>
        <pc:docMk/>
      </pc:docMkLst>
      <pc:sldChg chg="modSp">
        <pc:chgData name="iseki shuichi" userId="22ca00780100fab7" providerId="Windows Live" clId="Web-{2D224D46-2A45-4D0B-8015-32FB64D2A6C4}" dt="2023-07-24T07:02:01.854" v="128" actId="20577"/>
        <pc:sldMkLst>
          <pc:docMk/>
          <pc:sldMk cId="1998691687" sldId="2145707837"/>
        </pc:sldMkLst>
        <pc:spChg chg="mod">
          <ac:chgData name="iseki shuichi" userId="22ca00780100fab7" providerId="Windows Live" clId="Web-{2D224D46-2A45-4D0B-8015-32FB64D2A6C4}" dt="2023-07-24T07:02:01.854" v="128" actId="20577"/>
          <ac:spMkLst>
            <pc:docMk/>
            <pc:sldMk cId="1998691687" sldId="2145707837"/>
            <ac:spMk id="2" creationId="{29B91193-EDBA-4FFD-BF5D-09138EDC2C56}"/>
          </ac:spMkLst>
        </pc:spChg>
      </pc:sldChg>
      <pc:sldChg chg="modSp">
        <pc:chgData name="iseki shuichi" userId="22ca00780100fab7" providerId="Windows Live" clId="Web-{2D224D46-2A45-4D0B-8015-32FB64D2A6C4}" dt="2023-07-24T07:02:11.120" v="130" actId="20577"/>
        <pc:sldMkLst>
          <pc:docMk/>
          <pc:sldMk cId="2817180806" sldId="2145707839"/>
        </pc:sldMkLst>
        <pc:spChg chg="mod">
          <ac:chgData name="iseki shuichi" userId="22ca00780100fab7" providerId="Windows Live" clId="Web-{2D224D46-2A45-4D0B-8015-32FB64D2A6C4}" dt="2023-07-24T07:02:11.120" v="130" actId="20577"/>
          <ac:spMkLst>
            <pc:docMk/>
            <pc:sldMk cId="2817180806" sldId="2145707839"/>
            <ac:spMk id="22" creationId="{9CCA6437-423D-C4B3-B5AE-0627BBD839F4}"/>
          </ac:spMkLst>
        </pc:spChg>
        <pc:graphicFrameChg chg="mod modGraphic">
          <ac:chgData name="iseki shuichi" userId="22ca00780100fab7" providerId="Windows Live" clId="Web-{2D224D46-2A45-4D0B-8015-32FB64D2A6C4}" dt="2023-07-24T06:59:21.850" v="94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</pc:sldChg>
      <pc:sldChg chg="addSp delSp modSp">
        <pc:chgData name="iseki shuichi" userId="22ca00780100fab7" providerId="Windows Live" clId="Web-{2D224D46-2A45-4D0B-8015-32FB64D2A6C4}" dt="2023-07-24T07:02:18.104" v="132" actId="20577"/>
        <pc:sldMkLst>
          <pc:docMk/>
          <pc:sldMk cId="1842374520" sldId="2145707840"/>
        </pc:sldMkLst>
        <pc:spChg chg="add del mod">
          <ac:chgData name="iseki shuichi" userId="22ca00780100fab7" providerId="Windows Live" clId="Web-{2D224D46-2A45-4D0B-8015-32FB64D2A6C4}" dt="2023-07-24T06:42:44.808" v="12"/>
          <ac:spMkLst>
            <pc:docMk/>
            <pc:sldMk cId="1842374520" sldId="2145707840"/>
            <ac:spMk id="4" creationId="{92B7D4ED-6280-A65F-A54D-EBEFEF88B484}"/>
          </ac:spMkLst>
        </pc:spChg>
        <pc:spChg chg="mod">
          <ac:chgData name="iseki shuichi" userId="22ca00780100fab7" providerId="Windows Live" clId="Web-{2D224D46-2A45-4D0B-8015-32FB64D2A6C4}" dt="2023-07-24T07:01:16.900" v="126" actId="1076"/>
          <ac:spMkLst>
            <pc:docMk/>
            <pc:sldMk cId="1842374520" sldId="2145707840"/>
            <ac:spMk id="5" creationId="{EF20157F-5768-362B-F34C-4B60575B0904}"/>
          </ac:spMkLst>
        </pc:spChg>
        <pc:spChg chg="mod">
          <ac:chgData name="iseki shuichi" userId="22ca00780100fab7" providerId="Windows Live" clId="Web-{2D224D46-2A45-4D0B-8015-32FB64D2A6C4}" dt="2023-07-24T07:02:18.104" v="132" actId="20577"/>
          <ac:spMkLst>
            <pc:docMk/>
            <pc:sldMk cId="1842374520" sldId="2145707840"/>
            <ac:spMk id="22" creationId="{9CCA6437-423D-C4B3-B5AE-0627BBD839F4}"/>
          </ac:spMkLst>
        </pc:spChg>
        <pc:graphicFrameChg chg="mod modGraphic">
          <ac:chgData name="iseki shuichi" userId="22ca00780100fab7" providerId="Windows Live" clId="Web-{2D224D46-2A45-4D0B-8015-32FB64D2A6C4}" dt="2023-07-24T06:59:38.381" v="10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420008E8-163A-4FE4-8A5C-B1E4E0832DBE}"/>
    <pc:docChg chg="modSld">
      <pc:chgData name="iseki shuichi" userId="22ca00780100fab7" providerId="Windows Live" clId="Web-{420008E8-163A-4FE4-8A5C-B1E4E0832DBE}" dt="2023-07-24T04:04:38.347" v="1"/>
      <pc:docMkLst>
        <pc:docMk/>
      </pc:docMkLst>
      <pc:sldChg chg="modSp">
        <pc:chgData name="iseki shuichi" userId="22ca00780100fab7" providerId="Windows Live" clId="Web-{420008E8-163A-4FE4-8A5C-B1E4E0832DBE}" dt="2023-07-24T04:04:38.347" v="1"/>
        <pc:sldMkLst>
          <pc:docMk/>
          <pc:sldMk cId="2817180806" sldId="2145707839"/>
        </pc:sldMkLst>
        <pc:graphicFrameChg chg="modGraphic">
          <ac:chgData name="iseki shuichi" userId="22ca00780100fab7" providerId="Windows Live" clId="Web-{420008E8-163A-4FE4-8A5C-B1E4E0832DBE}" dt="2023-07-24T04:04:38.347" v="1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CF9F84-50CA-0E42-9990-76EEF1464A33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43138" y="1243013"/>
            <a:ext cx="232092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9B2B64-CF4F-7049-8D14-D85988DB8E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3036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9B2B64-CF4F-7049-8D14-D85988DB8E1B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3392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578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7782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5"/>
            <a:ext cx="1478756" cy="839487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5"/>
            <a:ext cx="4350544" cy="839487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923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101" y="2293"/>
          <a:ext cx="1099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1" y="2293"/>
                        <a:ext cx="1099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8344" y="1456000"/>
            <a:ext cx="3015692" cy="676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312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1095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2783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8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15257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2300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2" y="527405"/>
            <a:ext cx="5915025" cy="191470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2" y="2428349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2" y="3618444"/>
            <a:ext cx="2901255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4" y="2428349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4" y="3618444"/>
            <a:ext cx="2915543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7656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0555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00904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4" y="1426284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2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36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4" y="1426284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2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1729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9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9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7" y="9181399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5958DD-0773-AF4A-8A68-42A591722457}" type="datetimeFigureOut">
              <a:rPr kumimoji="1" lang="ja-JP" altLang="en-US" smtClean="0"/>
              <a:t>2024/5/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4" y="9181399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9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51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スライド" r:id="rId5" imgW="251" imgH="226" progId="TCLayout.ActiveDocument.1">
                  <p:embed/>
                </p:oleObj>
              </mc:Choice>
              <mc:Fallback>
                <p:oleObj name="think-cell スライド" r:id="rId5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29B91193-EDBA-4FFD-BF5D-09138EDC2C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ja-JP" altLang="en-US">
                <a:ea typeface="游ゴシック"/>
                <a:cs typeface="Calibri"/>
              </a:rPr>
              <a:t>1</a:t>
            </a:r>
          </a:p>
        </p:txBody>
      </p:sp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8628" y="3930555"/>
          <a:ext cx="6460747" cy="5385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371666">
                <a:tc>
                  <a:txBody>
                    <a:bodyPr/>
                    <a:lstStyle/>
                    <a:p>
                      <a:r>
                        <a:rPr lang="zh-TW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応募資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39366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400" b="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全ての要件を満たしているか、チェックしてください。</a:t>
                      </a: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462050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□　こどもスマイルムーブメントに参画している企業・団体であること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□　都内に本社又は事業所が所在すること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なお、次の各号に該当する企業・団体は、本事業の対象としません。</a:t>
                      </a:r>
                      <a:endParaRPr lang="en-US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ja-JP" altLang="en-US" sz="14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該当しない場合には「該当しない」にチェックしてください。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6ACFE5E2-8299-FCBC-9EE2-053ADD04E04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8626" y="2233177"/>
          <a:ext cx="6460746" cy="151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012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  <a:gridCol w="4976734">
                  <a:extLst>
                    <a:ext uri="{9D8B030D-6E8A-4147-A177-3AD203B41FA5}">
                      <a16:colId xmlns:a16="http://schemas.microsoft.com/office/drawing/2014/main" val="3620918358"/>
                    </a:ext>
                  </a:extLst>
                </a:gridCol>
              </a:tblGrid>
              <a:tr h="27048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6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企業・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53920"/>
                  </a:ext>
                </a:extLst>
              </a:tr>
              <a:tr h="14562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L="90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L="90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6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担当者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8013984"/>
                  </a:ext>
                </a:extLst>
              </a:tr>
            </a:tbl>
          </a:graphicData>
        </a:graphic>
      </p:graphicFrame>
      <p:graphicFrame>
        <p:nvGraphicFramePr>
          <p:cNvPr id="3" name="表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52051"/>
              </p:ext>
            </p:extLst>
          </p:nvPr>
        </p:nvGraphicFramePr>
        <p:xfrm>
          <a:off x="368490" y="6559726"/>
          <a:ext cx="6113559" cy="228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0575">
                  <a:extLst>
                    <a:ext uri="{9D8B030D-6E8A-4147-A177-3AD203B41FA5}">
                      <a16:colId xmlns:a16="http://schemas.microsoft.com/office/drawing/2014/main" val="1808383775"/>
                    </a:ext>
                  </a:extLst>
                </a:gridCol>
                <a:gridCol w="1322984">
                  <a:extLst>
                    <a:ext uri="{9D8B030D-6E8A-4147-A177-3AD203B41FA5}">
                      <a16:colId xmlns:a16="http://schemas.microsoft.com/office/drawing/2014/main" val="3759661988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pPr algn="ctr"/>
                      <a:endParaRPr kumimoji="1" lang="en-US" altLang="ja-JP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該当しな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16809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ア　政治活動、宗教活動又は選挙活動を目的とするも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7655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イ　公序良俗に反するも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752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ウ　反社会勢力又は反社会勢力と関わりがあるも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5389667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marL="273050" indent="-273050" algn="l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エ　業務停止命令や行政処分などを受けたもの、又は法令違反等不正の事故を起こしたも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111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オ</a:t>
                      </a:r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事業税その他租税の未申告又は滞納があるも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7321144"/>
                  </a:ext>
                </a:extLst>
              </a:tr>
            </a:tbl>
          </a:graphicData>
        </a:graphic>
      </p:graphicFrame>
      <p:sp>
        <p:nvSpPr>
          <p:cNvPr id="8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 txBox="1">
            <a:spLocks/>
          </p:cNvSpPr>
          <p:nvPr/>
        </p:nvSpPr>
        <p:spPr>
          <a:xfrm>
            <a:off x="2579431" y="171870"/>
            <a:ext cx="1719555" cy="4908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400" dirty="0">
                <a:latin typeface="Meiryo UI" panose="020B0604030504040204" pitchFamily="34" charset="-128"/>
                <a:ea typeface="Meiryo UI" panose="020B0604030504040204" pitchFamily="34" charset="-128"/>
              </a:rPr>
              <a:t>令和</a:t>
            </a:r>
            <a:r>
              <a:rPr lang="en-US" altLang="ja-JP" sz="2400" dirty="0">
                <a:latin typeface="Meiryo UI" panose="020B0604030504040204" pitchFamily="34" charset="-128"/>
                <a:ea typeface="Meiryo UI" panose="020B0604030504040204" pitchFamily="34" charset="-128"/>
              </a:rPr>
              <a:t>6</a:t>
            </a:r>
            <a:r>
              <a:rPr lang="ja-JP" altLang="en-US" sz="2400" dirty="0">
                <a:latin typeface="Meiryo UI" panose="020B0604030504040204" pitchFamily="34" charset="-128"/>
                <a:ea typeface="Meiryo UI" panose="020B0604030504040204" pitchFamily="34" charset="-128"/>
              </a:rPr>
              <a:t>年度</a:t>
            </a: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D61225F5-1F09-1707-B1AD-268B44AE621F}"/>
              </a:ext>
            </a:extLst>
          </p:cNvPr>
          <p:cNvSpPr txBox="1">
            <a:spLocks/>
          </p:cNvSpPr>
          <p:nvPr/>
        </p:nvSpPr>
        <p:spPr bwMode="gray">
          <a:xfrm>
            <a:off x="116738" y="631702"/>
            <a:ext cx="6659374" cy="799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3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ja-JP" altLang="en-US" sz="2400" dirty="0">
                <a:latin typeface="Meiryo UI" panose="020B0604030504040204" pitchFamily="34" charset="-128"/>
                <a:ea typeface="Meiryo UI" panose="020B0604030504040204" pitchFamily="34" charset="-128"/>
              </a:rPr>
              <a:t>自治体との協働による子供・子育て世代向けの取組</a:t>
            </a:r>
          </a:p>
        </p:txBody>
      </p:sp>
      <p:sp>
        <p:nvSpPr>
          <p:cNvPr id="10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 txBox="1">
            <a:spLocks/>
          </p:cNvSpPr>
          <p:nvPr/>
        </p:nvSpPr>
        <p:spPr>
          <a:xfrm>
            <a:off x="2483227" y="1163969"/>
            <a:ext cx="1993243" cy="79953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ja-JP" altLang="en-US" sz="2800" dirty="0">
                <a:latin typeface="Meiryo UI" panose="020B0604030504040204" pitchFamily="34" charset="-128"/>
                <a:ea typeface="Meiryo UI" panose="020B0604030504040204" pitchFamily="34" charset="-128"/>
              </a:rPr>
              <a:t>企画提案書</a:t>
            </a:r>
          </a:p>
        </p:txBody>
      </p:sp>
    </p:spTree>
    <p:extLst>
      <p:ext uri="{BB962C8B-B14F-4D97-AF65-F5344CB8AC3E}">
        <p14:creationId xmlns:p14="http://schemas.microsoft.com/office/powerpoint/2010/main" val="2661690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29B91193-EDBA-4FFD-BF5D-09138EDC2C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ja-JP" altLang="en-US">
                <a:ea typeface="游ゴシック"/>
                <a:cs typeface="Calibri"/>
              </a:rPr>
              <a:t>1</a:t>
            </a:r>
          </a:p>
        </p:txBody>
      </p:sp>
      <p:graphicFrame>
        <p:nvGraphicFramePr>
          <p:cNvPr id="6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0886014"/>
              </p:ext>
            </p:extLst>
          </p:nvPr>
        </p:nvGraphicFramePr>
        <p:xfrm>
          <a:off x="198627" y="169907"/>
          <a:ext cx="6460747" cy="15894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306861">
                <a:tc>
                  <a:txBody>
                    <a:bodyPr/>
                    <a:lstStyle/>
                    <a:p>
                      <a:r>
                        <a:rPr lang="en-US" altLang="ja-JP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1.</a:t>
                      </a:r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名称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255717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取組の名称を記載ください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918894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8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5991735"/>
              </p:ext>
            </p:extLst>
          </p:nvPr>
        </p:nvGraphicFramePr>
        <p:xfrm>
          <a:off x="198627" y="1835719"/>
          <a:ext cx="6460745" cy="734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328141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２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詳細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2892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目的や内容、参加費の有無等を記載ください。</a:t>
                      </a:r>
                      <a:endParaRPr kumimoji="1" lang="en-US" altLang="ja-JP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5695440">
                <a:tc>
                  <a:txBody>
                    <a:bodyPr/>
                    <a:lstStyle/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5067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821007"/>
              </p:ext>
            </p:extLst>
          </p:nvPr>
        </p:nvGraphicFramePr>
        <p:xfrm>
          <a:off x="198629" y="197200"/>
          <a:ext cx="6460745" cy="9106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357119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３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の意義・貢献内容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1897194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</a:pPr>
                      <a:r>
                        <a:rPr kumimoji="1" lang="ja-JP" altLang="en-US" b="0" i="0" dirty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　本事業で取組を行う意義</a:t>
                      </a: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r>
                        <a:rPr kumimoji="1" lang="ja-JP" altLang="en-US" b="0" i="0" dirty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　　（自治体とのマッチングや子供・保護者からの直接の意見聴取を契機として、従来にない新たな取組となること、又は充実強化がなされることを示すこと</a:t>
                      </a:r>
                      <a:r>
                        <a:rPr kumimoji="1" lang="ja-JP" altLang="en-US" b="0" i="0" dirty="0" smtClean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）</a:t>
                      </a: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355600" indent="-355600">
                        <a:lnSpc>
                          <a:spcPct val="10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  <a:tr h="17770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kumimoji="1" lang="ja-JP" altLang="en-US" b="0" i="0" dirty="0" smtClean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　取組における子供の主体性（子供がどのように主体性を持って取組に参加するか）</a:t>
                      </a: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61399"/>
                  </a:ext>
                </a:extLst>
              </a:tr>
              <a:tr h="1294556">
                <a:tc>
                  <a:txBody>
                    <a:bodyPr/>
                    <a:lstStyle/>
                    <a:p>
                      <a:r>
                        <a:rPr kumimoji="1" lang="ja-JP" altLang="en-US" b="0" i="0" dirty="0" smtClean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　取組を通じて子供の成長につながる要素</a:t>
                      </a: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4354808"/>
                  </a:ext>
                </a:extLst>
              </a:tr>
              <a:tr h="1495436">
                <a:tc>
                  <a:txBody>
                    <a:bodyPr/>
                    <a:lstStyle/>
                    <a:p>
                      <a:r>
                        <a:rPr kumimoji="1" lang="ja-JP" altLang="en-US" b="0" i="0" dirty="0" smtClean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　地域又は社会の課題、その課題への本取組の貢献内容</a:t>
                      </a: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8549630"/>
                  </a:ext>
                </a:extLst>
              </a:tr>
              <a:tr h="2162854">
                <a:tc>
                  <a:txBody>
                    <a:bodyPr/>
                    <a:lstStyle/>
                    <a:p>
                      <a:r>
                        <a:rPr kumimoji="1" lang="ja-JP" altLang="en-US" b="0" i="0" dirty="0" smtClean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　取組実施に係る予算・人員規模</a:t>
                      </a:r>
                    </a:p>
                    <a:p>
                      <a:endParaRPr kumimoji="1" lang="ja-JP" altLang="en-US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9796410"/>
                  </a:ext>
                </a:extLst>
              </a:tr>
            </a:tbl>
          </a:graphicData>
        </a:graphic>
      </p:graphicFrame>
      <p:sp>
        <p:nvSpPr>
          <p:cNvPr id="22" name="スライド番号プレースホルダー 1">
            <a:extLst>
              <a:ext uri="{FF2B5EF4-FFF2-40B4-BE49-F238E27FC236}">
                <a16:creationId xmlns:a16="http://schemas.microsoft.com/office/drawing/2014/main" id="{9CCA6437-423D-C4B3-B5AE-0627BBD839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843463" y="9181399"/>
            <a:ext cx="1543050" cy="527403"/>
          </a:xfrm>
        </p:spPr>
        <p:txBody>
          <a:bodyPr/>
          <a:lstStyle/>
          <a:p>
            <a:r>
              <a:rPr lang="ja-JP" altLang="en-US">
                <a:ea typeface="游ゴシック"/>
                <a:cs typeface="Calibri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11210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29B91193-EDBA-4FFD-BF5D-09138EDC2C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ja-JP" altLang="en-US">
                <a:ea typeface="游ゴシック"/>
                <a:cs typeface="Calibri"/>
              </a:rPr>
              <a:t>1</a:t>
            </a:r>
          </a:p>
        </p:txBody>
      </p:sp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357204"/>
              </p:ext>
            </p:extLst>
          </p:nvPr>
        </p:nvGraphicFramePr>
        <p:xfrm>
          <a:off x="198625" y="3328796"/>
          <a:ext cx="6460747" cy="18404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284279">
                <a:tc>
                  <a:txBody>
                    <a:bodyPr/>
                    <a:lstStyle/>
                    <a:p>
                      <a:r>
                        <a:rPr kumimoji="1"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６</a:t>
                      </a:r>
                      <a:r>
                        <a:rPr kumimoji="1"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kumimoji="1"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の充実のために子供・保護者から意見聴取したい事項</a:t>
                      </a:r>
                      <a:endParaRPr kumimoji="1" lang="en-US" altLang="ja-JP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147469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6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9594308"/>
              </p:ext>
            </p:extLst>
          </p:nvPr>
        </p:nvGraphicFramePr>
        <p:xfrm>
          <a:off x="198627" y="169908"/>
          <a:ext cx="6460747" cy="1340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286997">
                <a:tc>
                  <a:txBody>
                    <a:bodyPr/>
                    <a:lstStyle/>
                    <a:p>
                      <a:r>
                        <a:rPr kumimoji="1"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４</a:t>
                      </a:r>
                      <a:r>
                        <a:rPr kumimoji="1"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kumimoji="1"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協働先として想定する自治体又はエリア（複数可）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97523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8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136948"/>
              </p:ext>
            </p:extLst>
          </p:nvPr>
        </p:nvGraphicFramePr>
        <p:xfrm>
          <a:off x="198624" y="7297450"/>
          <a:ext cx="6460747" cy="18973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179058">
                <a:tc>
                  <a:txBody>
                    <a:bodyPr/>
                    <a:lstStyle/>
                    <a:p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８</a:t>
                      </a:r>
                      <a:r>
                        <a:rPr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実施に</a:t>
                      </a:r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おける安全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対策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1454842">
                <a:tc>
                  <a:txBody>
                    <a:bodyPr/>
                    <a:lstStyle/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/>
                      <a:endParaRPr kumimoji="1" lang="en-US" altLang="ja-JP" b="0" i="0" dirty="0" smtClean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9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8522925"/>
              </p:ext>
            </p:extLst>
          </p:nvPr>
        </p:nvGraphicFramePr>
        <p:xfrm>
          <a:off x="198625" y="5276633"/>
          <a:ext cx="6460747" cy="1913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252620">
                <a:tc>
                  <a:txBody>
                    <a:bodyPr/>
                    <a:lstStyle/>
                    <a:p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７</a:t>
                      </a:r>
                      <a:r>
                        <a:rPr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過去の子供・子育て世代向け取組の実績があればその内容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27257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○○年○○月○○日　</a:t>
                      </a:r>
                      <a:r>
                        <a:rPr kumimoji="1" lang="ja-JP" altLang="en-US" sz="1400" b="0" i="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活動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内容：○○○○○○○○○体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124287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10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798077"/>
              </p:ext>
            </p:extLst>
          </p:nvPr>
        </p:nvGraphicFramePr>
        <p:xfrm>
          <a:off x="198625" y="1612779"/>
          <a:ext cx="6460747" cy="16086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252620">
                <a:tc>
                  <a:txBody>
                    <a:bodyPr/>
                    <a:lstStyle/>
                    <a:p>
                      <a:r>
                        <a:rPr kumimoji="1"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５</a:t>
                      </a:r>
                      <a:r>
                        <a:rPr kumimoji="1"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kumimoji="1"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区市町村に求めるリソース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124287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algn="l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77916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498428"/>
              </p:ext>
            </p:extLst>
          </p:nvPr>
        </p:nvGraphicFramePr>
        <p:xfrm>
          <a:off x="198629" y="182442"/>
          <a:ext cx="6460745" cy="8318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94600">
                <a:tc>
                  <a:txBody>
                    <a:bodyPr/>
                    <a:lstStyle/>
                    <a:p>
                      <a:r>
                        <a:rPr lang="ja-JP" altLang="en-US" sz="1800" b="0" i="0" baseline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９</a:t>
                      </a:r>
                      <a:r>
                        <a:rPr lang="en-US" altLang="ja-JP" sz="1800" b="0" i="0" baseline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その他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3152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「募集要項５（２）審査における主な観点」で記載されている「実現可能性」、「取組の実施体制」等、その他特筆すべき内容について記載してください。</a:t>
                      </a:r>
                      <a:endParaRPr kumimoji="1" lang="ja-JP" altLang="en-US" sz="14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4905178">
                <a:tc>
                  <a:txBody>
                    <a:bodyPr/>
                    <a:lstStyle/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endParaRPr kumimoji="1" lang="en-US" altLang="ja-JP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sp>
        <p:nvSpPr>
          <p:cNvPr id="22" name="スライド番号プレースホルダー 1">
            <a:extLst>
              <a:ext uri="{FF2B5EF4-FFF2-40B4-BE49-F238E27FC236}">
                <a16:creationId xmlns:a16="http://schemas.microsoft.com/office/drawing/2014/main" id="{9CCA6437-423D-C4B3-B5AE-0627BBD839F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843463" y="9181399"/>
            <a:ext cx="1543050" cy="527403"/>
          </a:xfrm>
        </p:spPr>
        <p:txBody>
          <a:bodyPr/>
          <a:lstStyle/>
          <a:p>
            <a:r>
              <a:rPr lang="ja-JP" altLang="en-US">
                <a:ea typeface="游ゴシック"/>
                <a:cs typeface="Calibri"/>
              </a:rPr>
              <a:t>3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F20157F-5768-362B-F34C-4B60575B0904}"/>
              </a:ext>
            </a:extLst>
          </p:cNvPr>
          <p:cNvSpPr txBox="1"/>
          <p:nvPr/>
        </p:nvSpPr>
        <p:spPr>
          <a:xfrm>
            <a:off x="198629" y="8638576"/>
            <a:ext cx="5988813" cy="110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（注）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用紙は、</a:t>
            </a:r>
            <a:r>
              <a:rPr lang="ja-JP" altLang="en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Ａ４</a:t>
            </a: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サイズを使用してください。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が不足する場合は、適宜、欄を拡張して記載してください。 </a:t>
            </a:r>
            <a:b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</a:b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ただし最大５枚（「企業・団体名、応募資格」のページは除く）にしてください。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に余剰がある場合は、上記形式内において、取組実績や写真等ほかの事項も記載いただいて構いません。</a:t>
            </a:r>
          </a:p>
        </p:txBody>
      </p:sp>
    </p:spTree>
    <p:extLst>
      <p:ext uri="{BB962C8B-B14F-4D97-AF65-F5344CB8AC3E}">
        <p14:creationId xmlns:p14="http://schemas.microsoft.com/office/powerpoint/2010/main" val="1842374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55</TotalTime>
  <Words>525</Words>
  <Application>Microsoft Office PowerPoint</Application>
  <PresentationFormat>A4 210 x 297 mm</PresentationFormat>
  <Paragraphs>135</Paragraphs>
  <Slides>5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4" baseType="lpstr">
      <vt:lpstr>Meiryo UI</vt:lpstr>
      <vt:lpstr>游ゴシック</vt:lpstr>
      <vt:lpstr>游ゴシック Light</vt:lpstr>
      <vt:lpstr>Arial</vt:lpstr>
      <vt:lpstr>Calibri</vt:lpstr>
      <vt:lpstr>Calibri Light</vt:lpstr>
      <vt:lpstr>Times New Roman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こどもスマイルムーブメント大賞</dc:title>
  <dc:creator>井関 修一</dc:creator>
  <cp:lastModifiedBy>東京都</cp:lastModifiedBy>
  <cp:revision>53</cp:revision>
  <cp:lastPrinted>2024-04-12T12:36:33Z</cp:lastPrinted>
  <dcterms:created xsi:type="dcterms:W3CDTF">2023-07-22T13:11:07Z</dcterms:created>
  <dcterms:modified xsi:type="dcterms:W3CDTF">2024-05-08T10:02:26Z</dcterms:modified>
</cp:coreProperties>
</file>